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2FF39D94-A8AF-4187-963B-8D111CEB1A91}">
          <p14:sldIdLst>
            <p14:sldId id="2147475173"/>
            <p14:sldId id="2147475174"/>
            <p14:sldId id="2147475175"/>
            <p14:sldId id="2147475176"/>
            <p14:sldId id="2147475177"/>
            <p14:sldId id="2147475178"/>
            <p14:sldId id="2147475179"/>
            <p14:sldId id="2147475180"/>
            <p14:sldId id="2147475181"/>
          </p14:sldIdLst>
        </p14:section>
        <p14:section name="Brackets By Sector" id="{B0CD4B5C-6EFA-4EE9-861F-D892DA9C5872}">
          <p14:sldIdLst>
            <p14:sldId id="2147475182"/>
            <p14:sldId id="2147475183"/>
            <p14:sldId id="2147475184"/>
            <p14:sldId id="2147475185"/>
            <p14:sldId id="2147475186"/>
            <p14:sldId id="2147475187"/>
            <p14:sldId id="2147475188"/>
            <p14:sldId id="2147475189"/>
            <p14:sldId id="2147475190"/>
          </p14:sldIdLst>
        </p14:section>
        <p14:section name="Brackets By Segment" id="{C7EE27C4-7F51-44A3-AC61-54879A6E6952}">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5445148084735518</c:v>
                </c:pt>
                <c:pt idx="4">
                  <c:v>0.1287004654567686</c:v>
                </c:pt>
                <c:pt idx="5">
                  <c:v>0.86585001140044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86328568368899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073048452954874</c:v>
                </c:pt>
                <c:pt idx="5">
                  <c:v>0.997926951547045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1998249736974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2360514585842806</c:v>
                </c:pt>
                <c:pt idx="5">
                  <c:v>0.77639485414157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40372056331154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948784410285979</c:v>
                </c:pt>
                <c:pt idx="5">
                  <c:v>0.94051215589714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9569493270692721</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4238281095927957</c:v>
                </c:pt>
                <c:pt idx="4">
                  <c:v>0.9703468669643358</c:v>
                </c:pt>
                <c:pt idx="5">
                  <c:v>0.0054133670886693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92199276151796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423533038835943</c:v>
                </c:pt>
                <c:pt idx="5">
                  <c:v>0.98257646696116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24377547534882</c:v>
                </c:pt>
                <c:pt idx="5">
                  <c:v>0.991756224524651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597009283891027</c:v>
                </c:pt>
                <c:pt idx="4">
                  <c:v>0.22252527356135005</c:v>
                </c:pt>
                <c:pt idx="5">
                  <c:v>0.77431463134237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83474773381567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056343329605625</c:v>
                </c:pt>
                <c:pt idx="5">
                  <c:v>0.947943656670394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733400756829008</c:v>
                </c:pt>
                <c:pt idx="5">
                  <c:v>0.0864375014311434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073048452954874</c:v>
                </c:pt>
                <c:pt idx="5">
                  <c:v>0.997926951547045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845076886025688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2360514585842806</c:v>
                </c:pt>
                <c:pt idx="5">
                  <c:v>0.77639485414157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025356715330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948784410285979</c:v>
                </c:pt>
                <c:pt idx="5">
                  <c:v>0.94051215589714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3558621545661643</c:v>
                </c:pt>
                <c:pt idx="5">
                  <c:v>0.093832350898946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18971118739434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4238281095927957</c:v>
                </c:pt>
                <c:pt idx="4">
                  <c:v>0.9703468669643358</c:v>
                </c:pt>
                <c:pt idx="5">
                  <c:v>0.0054133670886693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7394691949885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423533038835943</c:v>
                </c:pt>
                <c:pt idx="5">
                  <c:v>0.98257646696116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2662711277150168</c:v>
                </c:pt>
                <c:pt idx="5">
                  <c:v>0.1108587344741232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24377547534882</c:v>
                </c:pt>
                <c:pt idx="5">
                  <c:v>0.991756224524651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006187522339349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1533981325019123</c:v>
                </c:pt>
                <c:pt idx="5">
                  <c:v>0.88465858193751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201638219349699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1286492465469</c:v>
                </c:pt>
                <c:pt idx="5">
                  <c:v>0.887135075345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7404858213717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4948585165737808</c:v>
                </c:pt>
                <c:pt idx="4">
                  <c:v>0.36145158306897884</c:v>
                </c:pt>
                <c:pt idx="5">
                  <c:v>0.63359905021598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98583384680794</c:v>
                </c:pt>
                <c:pt idx="5">
                  <c:v>0.800141661531920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0855829499012922</c:v>
                </c:pt>
                <c:pt idx="4">
                  <c:v>0.24259229843028043</c:v>
                </c:pt>
                <c:pt idx="5">
                  <c:v>0.7465518065812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141106374541705</c:v>
                </c:pt>
                <c:pt idx="5">
                  <c:v>0.80858893625458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1939374229419276</c:v>
                </c:pt>
                <c:pt idx="4">
                  <c:v>0.998002207701053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0107762532141101</c:v>
                </c:pt>
                <c:pt idx="5">
                  <c:v>0.8989223746785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22651766424201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8880220103901815</c:v>
                </c:pt>
                <c:pt idx="5">
                  <c:v>0.911197798960981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41454544106134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867123320328026</c:v>
                </c:pt>
                <c:pt idx="5">
                  <c:v>0.613287667967197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22758893392074</c:v>
                </c:pt>
                <c:pt idx="5">
                  <c:v>0.807724110660792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5172661377136546</c:v>
                </c:pt>
                <c:pt idx="5">
                  <c:v>0.74827338622863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9789208205848974</c:v>
                </c:pt>
                <c:pt idx="4">
                  <c:v>0.9666579784127466</c:v>
                </c:pt>
                <c:pt idx="5">
                  <c:v>0.003529335883534944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4462563881756466</c:v>
                </c:pt>
                <c:pt idx="5">
                  <c:v>0.85537436118243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5527246166012122</c:v>
                </c:pt>
                <c:pt idx="5">
                  <c:v>0.99446248931577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15225919026812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5229044802661734</c:v>
                </c:pt>
                <c:pt idx="5">
                  <c:v>0.999477095519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222062701202860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44903887319036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4263001957966992</c:v>
                </c:pt>
                <c:pt idx="4">
                  <c:v>0.9453474070903981</c:v>
                </c:pt>
                <c:pt idx="5">
                  <c:v>0.01202257332993187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8244891540046844</c:v>
                </c:pt>
                <c:pt idx="5">
                  <c:v>0.996175510845995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8791896987706017</c:v>
                </c:pt>
                <c:pt idx="4">
                  <c:v>0.9085450883271013</c:v>
                </c:pt>
                <c:pt idx="5">
                  <c:v>0.00353521473862116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7975833176818539</c:v>
                </c:pt>
                <c:pt idx="4">
                  <c:v>0.99178617551201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1533981325019123</c:v>
                </c:pt>
                <c:pt idx="5">
                  <c:v>0.88465858193751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2643024754196358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1286492465469</c:v>
                </c:pt>
                <c:pt idx="5">
                  <c:v>0.887135075345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4948585165737808</c:v>
                </c:pt>
                <c:pt idx="4">
                  <c:v>0.36145158306897884</c:v>
                </c:pt>
                <c:pt idx="5">
                  <c:v>0.63359905021598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98583384680794</c:v>
                </c:pt>
                <c:pt idx="5">
                  <c:v>0.800141661531920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47964344885836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0855829499012922</c:v>
                </c:pt>
                <c:pt idx="4">
                  <c:v>0.24259229843028043</c:v>
                </c:pt>
                <c:pt idx="5">
                  <c:v>0.7465518065812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141106374541705</c:v>
                </c:pt>
                <c:pt idx="5">
                  <c:v>0.80858893625458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1939374229419276</c:v>
                </c:pt>
                <c:pt idx="4">
                  <c:v>0.998002207701053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0107762532141101</c:v>
                </c:pt>
                <c:pt idx="5">
                  <c:v>0.8989223746785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1949007768307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8880220103901815</c:v>
                </c:pt>
                <c:pt idx="5">
                  <c:v>0.911197798960981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867123320328026</c:v>
                </c:pt>
                <c:pt idx="5">
                  <c:v>0.613287667967197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22758893392074</c:v>
                </c:pt>
                <c:pt idx="5">
                  <c:v>0.807724110660792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5172661377136546</c:v>
                </c:pt>
                <c:pt idx="5">
                  <c:v>0.74827338622863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4462563881756466</c:v>
                </c:pt>
                <c:pt idx="5">
                  <c:v>0.85537436118243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5527246166012122</c:v>
                </c:pt>
                <c:pt idx="5">
                  <c:v>0.99446248931577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96083072977285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5229044802661734</c:v>
                </c:pt>
                <c:pt idx="5">
                  <c:v>0.999477095519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4263001957966992</c:v>
                </c:pt>
                <c:pt idx="4">
                  <c:v>0.9453474070903981</c:v>
                </c:pt>
                <c:pt idx="5">
                  <c:v>0.01202257332993187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8244891540046844</c:v>
                </c:pt>
                <c:pt idx="5">
                  <c:v>0.996175510845995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8791896987706017</c:v>
                </c:pt>
                <c:pt idx="4">
                  <c:v>0.9085450883271013</c:v>
                </c:pt>
                <c:pt idx="5">
                  <c:v>0.00353521473862116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7975833176818539</c:v>
                </c:pt>
                <c:pt idx="4">
                  <c:v>0.99178617551201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1533981325019123</c:v>
                </c:pt>
                <c:pt idx="5">
                  <c:v>0.88465858193751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1286492465469</c:v>
                </c:pt>
                <c:pt idx="5">
                  <c:v>0.887135075345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045684670247308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4948585165737808</c:v>
                </c:pt>
                <c:pt idx="4">
                  <c:v>0.36145158306897884</c:v>
                </c:pt>
                <c:pt idx="5">
                  <c:v>0.63359905021598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09156697110208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98583384680794</c:v>
                </c:pt>
                <c:pt idx="5">
                  <c:v>0.800141661531920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0855829499012922</c:v>
                </c:pt>
                <c:pt idx="4">
                  <c:v>0.24259229843028043</c:v>
                </c:pt>
                <c:pt idx="5">
                  <c:v>0.7465518065812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5445148084735518</c:v>
                </c:pt>
                <c:pt idx="4">
                  <c:v>0.1287004654567686</c:v>
                </c:pt>
                <c:pt idx="5">
                  <c:v>0.86585001140044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141106374541705</c:v>
                </c:pt>
                <c:pt idx="5">
                  <c:v>0.80858893625458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1939374229419276</c:v>
                </c:pt>
                <c:pt idx="4">
                  <c:v>0.998002207701053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0107762532141101</c:v>
                </c:pt>
                <c:pt idx="5">
                  <c:v>0.8989223746785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8880220103901815</c:v>
                </c:pt>
                <c:pt idx="5">
                  <c:v>0.911197798960981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91689241272227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090875868009677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867123320328026</c:v>
                </c:pt>
                <c:pt idx="5">
                  <c:v>0.613287667967197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6288140586293703</c:v>
                </c:pt>
                <c:pt idx="5">
                  <c:v>0.01607670486383379</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922758893392074</c:v>
                </c:pt>
                <c:pt idx="5">
                  <c:v>0.807724110660792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5172661377136546</c:v>
                </c:pt>
                <c:pt idx="5">
                  <c:v>0.74827338622863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4462563881756466</c:v>
                </c:pt>
                <c:pt idx="5">
                  <c:v>0.85537436118243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5527246166012122</c:v>
                </c:pt>
                <c:pt idx="5">
                  <c:v>0.99446248931577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5229044802661734</c:v>
                </c:pt>
                <c:pt idx="5">
                  <c:v>0.999477095519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47426625949237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4263001957966992</c:v>
                </c:pt>
                <c:pt idx="4">
                  <c:v>0.9453474070903981</c:v>
                </c:pt>
                <c:pt idx="5">
                  <c:v>0.01202257332993187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423997467493267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38244891540046844</c:v>
                </c:pt>
                <c:pt idx="5">
                  <c:v>0.996175510845995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8791896987706017</c:v>
                </c:pt>
                <c:pt idx="4">
                  <c:v>0.9085450883271013</c:v>
                </c:pt>
                <c:pt idx="5">
                  <c:v>0.00353521473862116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7975833176818539</c:v>
                </c:pt>
                <c:pt idx="4">
                  <c:v>0.99178617551201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4</c:v>
                </c:pt>
                <c:pt idx="5">
                  <c:v>0.86015598603590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62418341201551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9789208205848974</c:v>
                </c:pt>
                <c:pt idx="4">
                  <c:v>0.9666579784127466</c:v>
                </c:pt>
                <c:pt idx="5">
                  <c:v>0.003529335883534944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602781843983431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5445148084735518</c:v>
                </c:pt>
                <c:pt idx="4">
                  <c:v>0.1287004654567686</c:v>
                </c:pt>
                <c:pt idx="5">
                  <c:v>0.86585001140044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31786825537347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4</c:v>
                </c:pt>
                <c:pt idx="5">
                  <c:v>0.86015598603590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5810477693602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9789208205848974</c:v>
                </c:pt>
                <c:pt idx="4">
                  <c:v>0.9666579784127466</c:v>
                </c:pt>
                <c:pt idx="5">
                  <c:v>0.003529335883534944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47021650716481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597009283891027</c:v>
                </c:pt>
                <c:pt idx="4">
                  <c:v>0.22252527356135005</c:v>
                </c:pt>
                <c:pt idx="5">
                  <c:v>0.77431463134237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59088787887163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056343329605625</c:v>
                </c:pt>
                <c:pt idx="5">
                  <c:v>0.947943656670394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2073048452954874</c:v>
                </c:pt>
                <c:pt idx="5">
                  <c:v>0.997926951547045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22360514585842806</c:v>
                </c:pt>
                <c:pt idx="5">
                  <c:v>0.77639485414157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3023279279617345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948784410285979</c:v>
                </c:pt>
                <c:pt idx="5">
                  <c:v>0.94051215589714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24238281095927957</c:v>
                </c:pt>
                <c:pt idx="4">
                  <c:v>0.9703468669643358</c:v>
                </c:pt>
                <c:pt idx="5">
                  <c:v>0.00541336708866939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3984401396409954</c:v>
                </c:pt>
                <c:pt idx="5">
                  <c:v>0.86015598603590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990516303180486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7423533038835943</c:v>
                </c:pt>
                <c:pt idx="5">
                  <c:v>0.982576466961164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24377547534882</c:v>
                </c:pt>
                <c:pt idx="5">
                  <c:v>0.991756224524651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1597009283891027</c:v>
                </c:pt>
                <c:pt idx="4">
                  <c:v>0.22252527356135005</c:v>
                </c:pt>
                <c:pt idx="5">
                  <c:v>0.77431463134237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32235929754931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056343329605625</c:v>
                </c:pt>
                <c:pt idx="5">
                  <c:v>0.947943656670394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4150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55613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09087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936628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8506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870023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537950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522928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3270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97078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65335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66204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6741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848444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516268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382819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349662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862812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130656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35911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995761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49982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69653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661517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230492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652642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840126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777621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246682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33952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6797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14307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05360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025713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9241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Pack Count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00741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